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13"/>
  </p:notesMasterIdLst>
  <p:handoutMasterIdLst>
    <p:handoutMasterId r:id="rId14"/>
  </p:handoutMasterIdLst>
  <p:sldIdLst>
    <p:sldId id="2122" r:id="rId5"/>
    <p:sldId id="366" r:id="rId6"/>
    <p:sldId id="343" r:id="rId7"/>
    <p:sldId id="689" r:id="rId8"/>
    <p:sldId id="342" r:id="rId9"/>
    <p:sldId id="691" r:id="rId10"/>
    <p:sldId id="341" r:id="rId11"/>
    <p:sldId id="690" r:id="rId12"/>
  </p:sldIdLst>
  <p:sldSz cx="12192000" cy="6858000"/>
  <p:notesSz cx="6858000" cy="9144000"/>
  <p:custDataLst>
    <p:tags r:id="rId15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122"/>
            <p14:sldId id="366"/>
            <p14:sldId id="343"/>
            <p14:sldId id="689"/>
            <p14:sldId id="342"/>
            <p14:sldId id="691"/>
            <p14:sldId id="341"/>
            <p14:sldId id="690"/>
          </p14:sldIdLst>
        </p14:section>
        <p14:section name="Graphic elements" id="{891EC914-4B3E-4CFE-A909-A820B43AB154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291" autoAdjust="0"/>
  </p:normalViewPr>
  <p:slideViewPr>
    <p:cSldViewPr>
      <p:cViewPr varScale="1">
        <p:scale>
          <a:sx n="78" d="100"/>
          <a:sy n="78" d="100"/>
        </p:scale>
        <p:origin x="140" y="6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846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3/08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3/08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3181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620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005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76549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432355" y="1412776"/>
            <a:ext cx="11327292" cy="489654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965700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3" y="1494767"/>
            <a:ext cx="8866331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0363" y="1828800"/>
            <a:ext cx="280416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56656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94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72992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21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64000" y="665025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&lt;Training Module&gt; - &lt;Trainer&gt;</a:t>
            </a:r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  <p:sldLayoutId id="2147483886" r:id="rId9"/>
    <p:sldLayoutId id="2147483887" r:id="rId10"/>
    <p:sldLayoutId id="2147483888" r:id="rId11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4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219200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sz="2200" dirty="0">
                <a:latin typeface="+mj-lt"/>
              </a:rPr>
              <a:t>SAP Gateway</a:t>
            </a:r>
            <a:br>
              <a:rPr lang="en-US" sz="2200" dirty="0">
                <a:latin typeface="+mj-lt"/>
              </a:rPr>
            </a:br>
            <a:br>
              <a:rPr lang="en-US" sz="2200" dirty="0">
                <a:latin typeface="+mj-lt"/>
              </a:rPr>
            </a:br>
            <a:r>
              <a:rPr lang="en-US" sz="1600" dirty="0">
                <a:latin typeface="+mj-lt"/>
              </a:rPr>
              <a:t>Day 5 - Agenda</a:t>
            </a:r>
            <a:endParaRPr lang="en-US" sz="2200" dirty="0">
              <a:latin typeface="+mj-lt"/>
            </a:endParaRP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47F6F817-D12B-44A6-8003-B6EB68225297}"/>
              </a:ext>
            </a:extLst>
          </p:cNvPr>
          <p:cNvSpPr txBox="1">
            <a:spLocks/>
          </p:cNvSpPr>
          <p:nvPr/>
        </p:nvSpPr>
        <p:spPr>
          <a:xfrm>
            <a:off x="839415" y="908720"/>
            <a:ext cx="9906000" cy="504056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US" sz="1600" dirty="0"/>
              <a:t>Types of CDS Views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CDS with Input Parameters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CDS View on View</a:t>
            </a:r>
          </a:p>
          <a:p>
            <a:pPr>
              <a:lnSpc>
                <a:spcPts val="4530"/>
              </a:lnSpc>
            </a:pPr>
            <a:endParaRPr lang="en-CA" sz="1600" dirty="0"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US" sz="1600" dirty="0">
                <a:latin typeface="+mn-lt"/>
              </a:rPr>
              <a:t>            </a:t>
            </a:r>
            <a:endParaRPr lang="en-US" sz="1600" dirty="0"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0585540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ype of CDS Views 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48267" y="1112808"/>
            <a:ext cx="8495469" cy="5196512"/>
          </a:xfrm>
        </p:spPr>
        <p:txBody>
          <a:bodyPr>
            <a:normAutofit/>
          </a:bodyPr>
          <a:lstStyle/>
          <a:p>
            <a:r>
              <a:rPr lang="en-US" dirty="0"/>
              <a:t>CDS View with Input Parameters </a:t>
            </a:r>
          </a:p>
          <a:p>
            <a:r>
              <a:rPr lang="en-US" dirty="0"/>
              <a:t>CDS View Extensions </a:t>
            </a:r>
          </a:p>
          <a:p>
            <a:r>
              <a:rPr lang="en-US" dirty="0"/>
              <a:t>View-on-View </a:t>
            </a:r>
          </a:p>
          <a:p>
            <a:r>
              <a:rPr lang="en-US" dirty="0"/>
              <a:t>CDS View without Input Parameters</a:t>
            </a:r>
          </a:p>
          <a:p>
            <a:pPr marL="189411" lvl="1" indent="0"/>
            <a:endParaRPr lang="en-US" dirty="0"/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493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of CDS View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48268" y="897776"/>
            <a:ext cx="3285207" cy="5411545"/>
          </a:xfrm>
        </p:spPr>
        <p:txBody>
          <a:bodyPr/>
          <a:lstStyle/>
          <a:p>
            <a:r>
              <a:rPr lang="en-US" b="1" dirty="0"/>
              <a:t>CDS View with input parameters</a:t>
            </a:r>
          </a:p>
          <a:p>
            <a:endParaRPr lang="en-US" b="1" dirty="0"/>
          </a:p>
          <a:p>
            <a:pPr lvl="1"/>
            <a:r>
              <a:rPr lang="en-US" dirty="0"/>
              <a:t>To create Views with parameters key word used is </a:t>
            </a:r>
            <a:r>
              <a:rPr lang="en-US" b="1" dirty="0"/>
              <a:t>With PARAMETER.</a:t>
            </a:r>
            <a:endParaRPr lang="en-US" dirty="0"/>
          </a:p>
          <a:p>
            <a:pPr lvl="1"/>
            <a:r>
              <a:rPr lang="en-US" dirty="0"/>
              <a:t>Comma-separated list of scalar input parameters  and their  corresponding type is to be mentioned.</a:t>
            </a:r>
          </a:p>
          <a:p>
            <a:pPr lvl="1"/>
            <a:r>
              <a:rPr lang="en-US" dirty="0"/>
              <a:t>Supported parameter types are as follows:</a:t>
            </a:r>
          </a:p>
          <a:p>
            <a:pPr marL="638175" lvl="2" indent="0"/>
            <a:r>
              <a:rPr lang="en-US" dirty="0"/>
              <a:t>Predefined data type like </a:t>
            </a:r>
            <a:r>
              <a:rPr lang="en-US" dirty="0" err="1"/>
              <a:t>abap.char</a:t>
            </a:r>
            <a:r>
              <a:rPr lang="en-US" dirty="0"/>
              <a:t>(</a:t>
            </a:r>
            <a:r>
              <a:rPr lang="en-US" dirty="0" err="1"/>
              <a:t>char_len</a:t>
            </a:r>
            <a:r>
              <a:rPr lang="en-US" dirty="0"/>
              <a:t>) </a:t>
            </a:r>
          </a:p>
          <a:p>
            <a:pPr marL="638175" lvl="2" indent="0"/>
            <a:r>
              <a:rPr lang="en-US" dirty="0"/>
              <a:t>Name of a data element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2E45A7-2B7D-456A-A574-D0A5DE77D4C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5153369" y="897775"/>
            <a:ext cx="5234940" cy="360426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755141" y="936501"/>
            <a:ext cx="6649748" cy="4643751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DS View with Input Parameter</a:t>
            </a:r>
          </a:p>
        </p:txBody>
      </p:sp>
    </p:spTree>
    <p:extLst>
      <p:ext uri="{BB962C8B-B14F-4D97-AF65-F5344CB8AC3E}">
        <p14:creationId xmlns:p14="http://schemas.microsoft.com/office/powerpoint/2010/main" val="37736122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of CDS View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b="1" dirty="0"/>
              <a:t>CDS View Extensions </a:t>
            </a:r>
          </a:p>
          <a:p>
            <a:pPr lvl="1"/>
            <a:r>
              <a:rPr lang="en-US" dirty="0"/>
              <a:t>A CDS view can be extended  by adding new fields .</a:t>
            </a:r>
          </a:p>
          <a:p>
            <a:pPr lvl="1"/>
            <a:r>
              <a:rPr lang="en-US" dirty="0"/>
              <a:t>To extend a CDS Base view, the key word used is </a:t>
            </a:r>
            <a:r>
              <a:rPr lang="en-US" b="1" dirty="0"/>
              <a:t>EXTEND VIEW .</a:t>
            </a:r>
          </a:p>
          <a:p>
            <a:pPr lvl="1"/>
            <a:r>
              <a:rPr lang="en-US" dirty="0"/>
              <a:t>In the extended view, mention the new fields to be added separated by comma.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3223DDD-E8F5-438E-9992-3EE7DEA2F5F7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104724" y="2745205"/>
            <a:ext cx="4632960" cy="248412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8707785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755141" y="936501"/>
            <a:ext cx="6649748" cy="4643751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reate Base CDS View</a:t>
            </a:r>
          </a:p>
          <a:p>
            <a:r>
              <a:rPr lang="en-US" dirty="0"/>
              <a:t>Extend the above CDS View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4600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of CDS View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48267" y="1171707"/>
            <a:ext cx="8495469" cy="4896544"/>
          </a:xfrm>
        </p:spPr>
        <p:txBody>
          <a:bodyPr/>
          <a:lstStyle/>
          <a:p>
            <a:r>
              <a:rPr lang="en-US" b="1" dirty="0"/>
              <a:t>View-on-View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Another important type of CDS view is View on View.</a:t>
            </a:r>
          </a:p>
          <a:p>
            <a:pPr lvl="1"/>
            <a:r>
              <a:rPr lang="en-US" dirty="0"/>
              <a:t>You can create CDS view on another CDS View(called as the Base View).</a:t>
            </a:r>
          </a:p>
          <a:p>
            <a:pPr lvl="1"/>
            <a:r>
              <a:rPr lang="en-US" dirty="0"/>
              <a:t>There is no restriction on the number of layers. 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8299" y="2481432"/>
            <a:ext cx="8229711" cy="1847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8266" y="4380806"/>
            <a:ext cx="8129779" cy="187414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755141" y="936501"/>
            <a:ext cx="6649748" cy="4643751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reate Base CDS View</a:t>
            </a:r>
          </a:p>
          <a:p>
            <a:r>
              <a:rPr lang="en-US" dirty="0"/>
              <a:t>Create View on the above Base View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5696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F60D23C-E904-40DA-9B14-FE286F687F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2c2c8c-4a2d-4282-b3ae-965d5e263694"/>
    <ds:schemaRef ds:uri="35517446-20c8-4dbf-81a7-e8d1b5f96f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BA9992F-4C86-4BDD-BE48-13BEC32DFF5E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5CD7177-2601-4AA3-97A6-1F7469767B4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952</TotalTime>
  <Words>219</Words>
  <Application>Microsoft Office PowerPoint</Application>
  <PresentationFormat>Widescreen</PresentationFormat>
  <Paragraphs>58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Verdana</vt:lpstr>
      <vt:lpstr>Wingdings</vt:lpstr>
      <vt:lpstr>Capgemini Master</vt:lpstr>
      <vt:lpstr>think-cell Slide</vt:lpstr>
      <vt:lpstr>SAP Gateway  Day 5 - Agenda</vt:lpstr>
      <vt:lpstr>Type of CDS Views  </vt:lpstr>
      <vt:lpstr>Type of CDS Views</vt:lpstr>
      <vt:lpstr>Demo</vt:lpstr>
      <vt:lpstr>Type of CDS Views </vt:lpstr>
      <vt:lpstr>Demo</vt:lpstr>
      <vt:lpstr>Type of CDS Views </vt:lpstr>
      <vt:lpstr>Demo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Bhangale, Prasanna</dc:creator>
  <cp:lastModifiedBy>BHAGWANJEE SINGH, ABHAY</cp:lastModifiedBy>
  <cp:revision>197</cp:revision>
  <dcterms:created xsi:type="dcterms:W3CDTF">2019-05-04T18:47:02Z</dcterms:created>
  <dcterms:modified xsi:type="dcterms:W3CDTF">2024-08-13T12:5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